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7"/>
  </p:notesMasterIdLst>
  <p:handoutMasterIdLst>
    <p:handoutMasterId r:id="rId8"/>
  </p:handoutMasterIdLst>
  <p:sldIdLst>
    <p:sldId id="846" r:id="rId3"/>
    <p:sldId id="842" r:id="rId4"/>
    <p:sldId id="843" r:id="rId5"/>
    <p:sldId id="849" r:id="rId6"/>
  </p:sldIdLst>
  <p:sldSz cx="12192000" cy="6858000"/>
  <p:notesSz cx="6858000" cy="9144000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  <p:embeddedFont>
      <p:font typeface="HeliosCondC" panose="00000500000000000000" pitchFamily="50" charset="0"/>
      <p:regular r:id="rId13"/>
      <p:bold r:id="rId14"/>
      <p:italic r:id="rId15"/>
      <p:boldItalic r:id="rId16"/>
    </p:embeddedFont>
    <p:embeddedFont>
      <p:font typeface="Montserrat" panose="00000500000000000000" pitchFamily="50" charset="-52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459" userDrawn="1">
          <p15:clr>
            <a:srgbClr val="A4A3A4"/>
          </p15:clr>
        </p15:guide>
        <p15:guide id="7" orient="horz" pos="2850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E3F3"/>
    <a:srgbClr val="4472C4"/>
    <a:srgbClr val="C00000"/>
    <a:srgbClr val="268DC0"/>
    <a:srgbClr val="FFFFFF"/>
    <a:srgbClr val="FFFFF7"/>
    <a:srgbClr val="13A160"/>
    <a:srgbClr val="008D34"/>
    <a:srgbClr val="8FAADC"/>
    <a:srgbClr val="F7D9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92" autoAdjust="0"/>
    <p:restoredTop sz="93585" autoAdjust="0"/>
  </p:normalViewPr>
  <p:slideViewPr>
    <p:cSldViewPr snapToGrid="0">
      <p:cViewPr>
        <p:scale>
          <a:sx n="93" d="100"/>
          <a:sy n="93" d="100"/>
        </p:scale>
        <p:origin x="1524" y="552"/>
      </p:cViewPr>
      <p:guideLst>
        <p:guide pos="1459"/>
        <p:guide orient="horz" pos="2850"/>
        <p:guide pos="4770"/>
        <p:guide pos="3795"/>
        <p:guide pos="7015"/>
        <p:guide pos="3069"/>
        <p:guide orient="horz" pos="867"/>
        <p:guide orient="horz" pos="686"/>
        <p:guide orient="horz" pos="187"/>
        <p:guide orient="horz" pos="2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3.fntdata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font" Target="fonts/font7.fntdata"/><Relationship Id="rId23" Type="http://schemas.openxmlformats.org/officeDocument/2006/relationships/presProps" Target="presProp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" Target="slides/slide2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30.01.2021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30.0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2661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2"/>
          <p:cNvSpPr txBox="1">
            <a:spLocks/>
          </p:cNvSpPr>
          <p:nvPr/>
        </p:nvSpPr>
        <p:spPr>
          <a:xfrm>
            <a:off x="5477618" y="2544802"/>
            <a:ext cx="6408000" cy="2664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Инструкция по учёту </a:t>
            </a:r>
            <a:r>
              <a:rPr lang="ru-RU" b="1" dirty="0">
                <a:solidFill>
                  <a:srgbClr val="268D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ов </a:t>
            </a:r>
            <a:br>
              <a:rPr lang="ru-RU" b="1" dirty="0">
                <a:solidFill>
                  <a:srgbClr val="268D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268D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знеобеспечения </a:t>
            </a:r>
            <a:b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 системе РЛП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B099523-28F7-4A67-8C45-F6056723CAA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971" y="2114232"/>
            <a:ext cx="3784456" cy="35251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61E8F96-B4CD-426F-BFBE-3E93DBAD7AC2}"/>
              </a:ext>
            </a:extLst>
          </p:cNvPr>
          <p:cNvSpPr txBox="1"/>
          <p:nvPr/>
        </p:nvSpPr>
        <p:spPr>
          <a:xfrm>
            <a:off x="961971" y="1883082"/>
            <a:ext cx="87876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0" b="1" dirty="0">
                <a:solidFill>
                  <a:schemeClr val="bg1"/>
                </a:solidFill>
              </a:rPr>
              <a:t>О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313579-E54A-4551-9EAB-7DD0219A00A7}"/>
              </a:ext>
            </a:extLst>
          </p:cNvPr>
          <p:cNvSpPr txBox="1"/>
          <p:nvPr/>
        </p:nvSpPr>
        <p:spPr>
          <a:xfrm>
            <a:off x="1605738" y="2437080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Пятиугольник 11">
            <a:extLst>
              <a:ext uri="{FF2B5EF4-FFF2-40B4-BE49-F238E27FC236}">
                <a16:creationId xmlns:a16="http://schemas.microsoft.com/office/drawing/2014/main" id="{7B95D0A2-5444-4DD9-B75E-EEFE8082AF63}"/>
              </a:ext>
            </a:extLst>
          </p:cNvPr>
          <p:cNvSpPr/>
          <p:nvPr/>
        </p:nvSpPr>
        <p:spPr>
          <a:xfrm>
            <a:off x="0" y="312188"/>
            <a:ext cx="2982483" cy="561469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BF1FC37-897F-4031-A655-0CF42320B263}"/>
              </a:ext>
            </a:extLst>
          </p:cNvPr>
          <p:cNvSpPr txBox="1">
            <a:spLocks/>
          </p:cNvSpPr>
          <p:nvPr/>
        </p:nvSpPr>
        <p:spPr>
          <a:xfrm>
            <a:off x="929869" y="372009"/>
            <a:ext cx="2291737" cy="289710"/>
          </a:xfrm>
          <a:prstGeom prst="rect">
            <a:avLst/>
          </a:prstGeom>
        </p:spPr>
        <p:txBody>
          <a:bodyPr/>
          <a:lstStyle>
            <a:lvl1pPr algn="ctr" defTabSz="2438645" rtl="0" eaLnBrk="1" latinLnBrk="0" hangingPunct="1">
              <a:spcBef>
                <a:spcPct val="0"/>
              </a:spcBef>
              <a:buNone/>
              <a:defRPr sz="117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tabLst>
                <a:tab pos="3137954" algn="l"/>
                <a:tab pos="4864238" algn="l"/>
              </a:tabLst>
            </a:pPr>
            <a:r>
              <a:rPr lang="ru-RU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888629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182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Учет аппаратов жизнеобеспечения в системе РЛПК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597" y="1256000"/>
            <a:ext cx="8406705" cy="5333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1963701" y="5528295"/>
            <a:ext cx="2480505" cy="6789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им в интерфейс МО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1648935" y="4667159"/>
            <a:ext cx="818494" cy="590718"/>
            <a:chOff x="7932138" y="3601299"/>
            <a:chExt cx="818494" cy="590718"/>
          </a:xfrm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AD8FD644-6D7D-43DA-ADA7-9426047C319B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705A9A26-702A-4B16-9C10-4DB0EB8276C3}"/>
              </a:ext>
            </a:extLst>
          </p:cNvPr>
          <p:cNvSpPr/>
          <p:nvPr/>
        </p:nvSpPr>
        <p:spPr>
          <a:xfrm>
            <a:off x="901782" y="1162228"/>
            <a:ext cx="8627172" cy="5537675"/>
          </a:xfrm>
          <a:prstGeom prst="roundRect">
            <a:avLst>
              <a:gd name="adj" fmla="val 3208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5460655" y="5528295"/>
            <a:ext cx="3697292" cy="6789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зделе «Учёт оборудования медучреждения» –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«Аппараты жизнеобеспечения пациента»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6815928" y="4716852"/>
            <a:ext cx="818494" cy="590718"/>
            <a:chOff x="7932138" y="3601299"/>
            <a:chExt cx="818494" cy="590718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9" name="Номер слайда 10">
            <a:extLst>
              <a:ext uri="{FF2B5EF4-FFF2-40B4-BE49-F238E27FC236}">
                <a16:creationId xmlns:a16="http://schemas.microsoft.com/office/drawing/2014/main" id="{9CC406CD-4BB9-405E-AEA3-EFF6BF811644}"/>
              </a:ext>
            </a:extLst>
          </p:cNvPr>
          <p:cNvSpPr txBox="1">
            <a:spLocks/>
          </p:cNvSpPr>
          <p:nvPr/>
        </p:nvSpPr>
        <p:spPr>
          <a:xfrm>
            <a:off x="9292927" y="6457303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8527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2661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297892" y="527601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нового аппарата жизнеобеспечения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805" y="1215887"/>
            <a:ext cx="8784976" cy="201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188" y="3550243"/>
            <a:ext cx="5119630" cy="2918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720722" y="2061249"/>
            <a:ext cx="3628056" cy="79994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создания нового аппарата ЖО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жимаем кнопку «Создать»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448697" y="1723377"/>
            <a:ext cx="812873" cy="614165"/>
            <a:chOff x="7937759" y="3577852"/>
            <a:chExt cx="812873" cy="614165"/>
          </a:xfrm>
        </p:grpSpPr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AD8FD644-6D7D-43DA-ADA7-9426047C319B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7983128" y="3532483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8276416" y="3727381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2261570" y="5658613"/>
            <a:ext cx="824823" cy="624832"/>
            <a:chOff x="7925809" y="3601299"/>
            <a:chExt cx="824823" cy="624832"/>
          </a:xfrm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AD8FD644-6D7D-43DA-ADA7-9426047C319B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3177157">
              <a:off x="7971178" y="4018717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8275464" y="372995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C7CA3D45-81F0-41F1-B43C-9D2F1ACEE568}"/>
              </a:ext>
            </a:extLst>
          </p:cNvPr>
          <p:cNvSpPr/>
          <p:nvPr/>
        </p:nvSpPr>
        <p:spPr>
          <a:xfrm>
            <a:off x="837804" y="1184290"/>
            <a:ext cx="10705447" cy="2314006"/>
          </a:xfrm>
          <a:prstGeom prst="roundRect">
            <a:avLst>
              <a:gd name="adj" fmla="val 3208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CCFDAD4A-9F6C-446F-A18A-42060FEFF7BB}"/>
              </a:ext>
            </a:extLst>
          </p:cNvPr>
          <p:cNvSpPr/>
          <p:nvPr/>
        </p:nvSpPr>
        <p:spPr>
          <a:xfrm>
            <a:off x="837804" y="3592203"/>
            <a:ext cx="10705447" cy="2918923"/>
          </a:xfrm>
          <a:prstGeom prst="roundRect">
            <a:avLst>
              <a:gd name="adj" fmla="val 3208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: скругленные углы 15">
            <a:extLst>
              <a:ext uri="{FF2B5EF4-FFF2-40B4-BE49-F238E27FC236}">
                <a16:creationId xmlns:a16="http://schemas.microsoft.com/office/drawing/2014/main" id="{CF8487DE-DF72-4BEB-9FAA-D5660E874F2C}"/>
              </a:ext>
            </a:extLst>
          </p:cNvPr>
          <p:cNvSpPr/>
          <p:nvPr/>
        </p:nvSpPr>
        <p:spPr>
          <a:xfrm>
            <a:off x="7720722" y="5745019"/>
            <a:ext cx="3628056" cy="4491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ить выполненные элементы</a:t>
            </a: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95E2AD02-560C-40E4-9C6B-5E8FDF7CFDD0}"/>
              </a:ext>
            </a:extLst>
          </p:cNvPr>
          <p:cNvGrpSpPr/>
          <p:nvPr/>
        </p:nvGrpSpPr>
        <p:grpSpPr>
          <a:xfrm>
            <a:off x="2584067" y="4239081"/>
            <a:ext cx="812873" cy="614165"/>
            <a:chOff x="7937759" y="3577852"/>
            <a:chExt cx="812873" cy="614165"/>
          </a:xfrm>
        </p:grpSpPr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EA591624-9D4F-439F-A23D-8A6202FCC784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Стрелка: вниз 29">
              <a:extLst>
                <a:ext uri="{FF2B5EF4-FFF2-40B4-BE49-F238E27FC236}">
                  <a16:creationId xmlns:a16="http://schemas.microsoft.com/office/drawing/2014/main" id="{382865F7-7AE5-4D12-A234-C66510BB3FD9}"/>
                </a:ext>
              </a:extLst>
            </p:cNvPr>
            <p:cNvSpPr/>
            <p:nvPr/>
          </p:nvSpPr>
          <p:spPr>
            <a:xfrm rot="7475064">
              <a:off x="7983128" y="3532483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24BFF3F-74F9-459D-9AFD-26E20C551B18}"/>
                </a:ext>
              </a:extLst>
            </p:cNvPr>
            <p:cNvSpPr txBox="1"/>
            <p:nvPr/>
          </p:nvSpPr>
          <p:spPr>
            <a:xfrm>
              <a:off x="8276416" y="3727381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24" name="Номер слайда 10">
            <a:extLst>
              <a:ext uri="{FF2B5EF4-FFF2-40B4-BE49-F238E27FC236}">
                <a16:creationId xmlns:a16="http://schemas.microsoft.com/office/drawing/2014/main" id="{F6B34D40-2401-4E03-BF57-B451AC00CC3A}"/>
              </a:ext>
            </a:extLst>
          </p:cNvPr>
          <p:cNvSpPr txBox="1">
            <a:spLocks/>
          </p:cNvSpPr>
          <p:nvPr/>
        </p:nvSpPr>
        <p:spPr>
          <a:xfrm>
            <a:off x="9292927" y="6457303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3</a:t>
            </a:fld>
            <a:endParaRPr lang="ru-RU" dirty="0"/>
          </a:p>
        </p:txBody>
      </p:sp>
      <p:sp>
        <p:nvSpPr>
          <p:cNvPr id="7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720722" y="4159979"/>
            <a:ext cx="3646021" cy="1017265"/>
          </a:xfrm>
          <a:prstGeom prst="roundRect">
            <a:avLst>
              <a:gd name="adj" fmla="val 1171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олняем карточку справочника. Для автоматического создания документа «Регистрация аппаратов жизнеобеспечения» проставляем галочку «Принять к учёту»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263C6F01-E4BE-4BA3-88EA-D900A2E82DB9}"/>
              </a:ext>
            </a:extLst>
          </p:cNvPr>
          <p:cNvSpPr/>
          <p:nvPr/>
        </p:nvSpPr>
        <p:spPr>
          <a:xfrm>
            <a:off x="2013358" y="6194194"/>
            <a:ext cx="224911" cy="191005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86298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337367" y="533190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нятие  аппаратов жизнеобеспечения с учета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497" y="1635893"/>
            <a:ext cx="5400600" cy="3401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A2D4E1BF-1DD2-455A-804D-A53F5D2A7437}"/>
              </a:ext>
            </a:extLst>
          </p:cNvPr>
          <p:cNvSpPr/>
          <p:nvPr/>
        </p:nvSpPr>
        <p:spPr>
          <a:xfrm>
            <a:off x="678095" y="1635894"/>
            <a:ext cx="6400799" cy="4419279"/>
          </a:xfrm>
          <a:prstGeom prst="roundRect">
            <a:avLst>
              <a:gd name="adj" fmla="val 3208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0D2E599-6972-4738-8F73-E0D4C10025FA}"/>
              </a:ext>
            </a:extLst>
          </p:cNvPr>
          <p:cNvGrpSpPr/>
          <p:nvPr/>
        </p:nvGrpSpPr>
        <p:grpSpPr>
          <a:xfrm>
            <a:off x="1800635" y="5154294"/>
            <a:ext cx="887192" cy="618472"/>
            <a:chOff x="737360" y="2059673"/>
            <a:chExt cx="887192" cy="618472"/>
          </a:xfrm>
        </p:grpSpPr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AD8FD644-6D7D-43DA-ADA7-9426047C319B}"/>
                </a:ext>
              </a:extLst>
            </p:cNvPr>
            <p:cNvSpPr/>
            <p:nvPr/>
          </p:nvSpPr>
          <p:spPr>
            <a:xfrm>
              <a:off x="737360" y="2087427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912433" y="2213509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0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13943733">
              <a:off x="1395996" y="1968330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" name="Номер слайда 10">
            <a:extLst>
              <a:ext uri="{FF2B5EF4-FFF2-40B4-BE49-F238E27FC236}">
                <a16:creationId xmlns:a16="http://schemas.microsoft.com/office/drawing/2014/main" id="{A0D7ADDA-58F6-4DD5-9BAE-92755810B327}"/>
              </a:ext>
            </a:extLst>
          </p:cNvPr>
          <p:cNvSpPr txBox="1">
            <a:spLocks/>
          </p:cNvSpPr>
          <p:nvPr/>
        </p:nvSpPr>
        <p:spPr>
          <a:xfrm>
            <a:off x="9292927" y="6457303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4</a:t>
            </a:fld>
            <a:endParaRPr lang="ru-RU" dirty="0"/>
          </a:p>
        </p:txBody>
      </p:sp>
      <p:sp>
        <p:nvSpPr>
          <p:cNvPr id="13" name="Прямоугольник: скругленные углы 15">
            <a:extLst>
              <a:ext uri="{FF2B5EF4-FFF2-40B4-BE49-F238E27FC236}">
                <a16:creationId xmlns:a16="http://schemas.microsoft.com/office/drawing/2014/main" id="{94C6ADC4-BE81-4145-911D-3F26FB9E0DC3}"/>
              </a:ext>
            </a:extLst>
          </p:cNvPr>
          <p:cNvSpPr/>
          <p:nvPr/>
        </p:nvSpPr>
        <p:spPr>
          <a:xfrm>
            <a:off x="7229166" y="3017662"/>
            <a:ext cx="4442277" cy="69222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мите галочку «Принять к учёту»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C372C0E8-A599-4981-80EA-C4E457CE635C}"/>
              </a:ext>
            </a:extLst>
          </p:cNvPr>
          <p:cNvGrpSpPr/>
          <p:nvPr/>
        </p:nvGrpSpPr>
        <p:grpSpPr>
          <a:xfrm>
            <a:off x="772832" y="2443568"/>
            <a:ext cx="887192" cy="618472"/>
            <a:chOff x="737360" y="2059673"/>
            <a:chExt cx="887192" cy="618472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3E64147B-8175-437A-8A23-6321740CB27E}"/>
                </a:ext>
              </a:extLst>
            </p:cNvPr>
            <p:cNvSpPr/>
            <p:nvPr/>
          </p:nvSpPr>
          <p:spPr>
            <a:xfrm>
              <a:off x="737360" y="2087427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4A80E5D-3A9A-4A31-953E-CA601D488BFF}"/>
                </a:ext>
              </a:extLst>
            </p:cNvPr>
            <p:cNvSpPr txBox="1"/>
            <p:nvPr/>
          </p:nvSpPr>
          <p:spPr>
            <a:xfrm>
              <a:off x="912433" y="2213509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  <p:sp>
          <p:nvSpPr>
            <p:cNvPr id="17" name="Стрелка: вниз 29">
              <a:extLst>
                <a:ext uri="{FF2B5EF4-FFF2-40B4-BE49-F238E27FC236}">
                  <a16:creationId xmlns:a16="http://schemas.microsoft.com/office/drawing/2014/main" id="{E68E82B2-EB84-4FC9-AAB7-3E6B9AE35445}"/>
                </a:ext>
              </a:extLst>
            </p:cNvPr>
            <p:cNvSpPr/>
            <p:nvPr/>
          </p:nvSpPr>
          <p:spPr>
            <a:xfrm rot="13943733">
              <a:off x="1395996" y="1968330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383D48A9-A8BA-45CB-AECE-8CD1A6AB009F}"/>
              </a:ext>
            </a:extLst>
          </p:cNvPr>
          <p:cNvSpPr/>
          <p:nvPr/>
        </p:nvSpPr>
        <p:spPr>
          <a:xfrm>
            <a:off x="7229166" y="1635893"/>
            <a:ext cx="4442277" cy="996480"/>
          </a:xfrm>
          <a:prstGeom prst="roundRect">
            <a:avLst>
              <a:gd name="adj" fmla="val 10481"/>
            </a:avLst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E43E71-06D0-4AA0-AD86-55040C175F87}"/>
              </a:ext>
            </a:extLst>
          </p:cNvPr>
          <p:cNvSpPr txBox="1"/>
          <p:nvPr/>
        </p:nvSpPr>
        <p:spPr>
          <a:xfrm>
            <a:off x="7229166" y="1751212"/>
            <a:ext cx="320937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бы снять аппарат ЖО с учёта, зайдите в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фейс МО </a:t>
            </a:r>
            <a:r>
              <a:rPr lang="ru-RU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ёт оборудования медучреждения </a:t>
            </a:r>
            <a:r>
              <a:rPr lang="ru-RU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ы жизнеобеспечения пациента</a:t>
            </a:r>
            <a:r>
              <a:rPr lang="ru-RU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м. слайд 1) </a:t>
            </a:r>
            <a:endParaRPr lang="ru-RU" sz="1100" b="1" dirty="0"/>
          </a:p>
        </p:txBody>
      </p:sp>
      <p:sp>
        <p:nvSpPr>
          <p:cNvPr id="19" name="Прямоугольник: скругленные углы 15">
            <a:extLst>
              <a:ext uri="{FF2B5EF4-FFF2-40B4-BE49-F238E27FC236}">
                <a16:creationId xmlns:a16="http://schemas.microsoft.com/office/drawing/2014/main" id="{836A5DFA-6E7B-464F-83C4-D77F8B3457EB}"/>
              </a:ext>
            </a:extLst>
          </p:cNvPr>
          <p:cNvSpPr/>
          <p:nvPr/>
        </p:nvSpPr>
        <p:spPr>
          <a:xfrm>
            <a:off x="7229165" y="4095178"/>
            <a:ext cx="4442277" cy="69222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ить выполненные элементы</a:t>
            </a:r>
          </a:p>
        </p:txBody>
      </p:sp>
    </p:spTree>
    <p:extLst>
      <p:ext uri="{BB962C8B-B14F-4D97-AF65-F5344CB8AC3E}">
        <p14:creationId xmlns:p14="http://schemas.microsoft.com/office/powerpoint/2010/main" val="3268002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248</TotalTime>
  <Words>142</Words>
  <Application>Microsoft Office PowerPoint</Application>
  <PresentationFormat>Широкоэкранный</PresentationFormat>
  <Paragraphs>32</Paragraphs>
  <Slides>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1" baseType="lpstr">
      <vt:lpstr>HeliosCondC</vt:lpstr>
      <vt:lpstr>Arial</vt:lpstr>
      <vt:lpstr>Calibri</vt:lpstr>
      <vt:lpstr>Montserrat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S8Ap95x S8Ap95x</cp:lastModifiedBy>
  <cp:revision>955</cp:revision>
  <cp:lastPrinted>2020-04-17T06:55:34Z</cp:lastPrinted>
  <dcterms:created xsi:type="dcterms:W3CDTF">2019-06-12T19:36:33Z</dcterms:created>
  <dcterms:modified xsi:type="dcterms:W3CDTF">2021-01-30T19:38:40Z</dcterms:modified>
</cp:coreProperties>
</file>